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6" r:id="rId5"/>
    <p:sldId id="267" r:id="rId6"/>
    <p:sldId id="261" r:id="rId7"/>
    <p:sldId id="273" r:id="rId8"/>
    <p:sldId id="281" r:id="rId9"/>
    <p:sldId id="274" r:id="rId10"/>
    <p:sldId id="276" r:id="rId11"/>
    <p:sldId id="280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445065-43A3-554D-B2CA-E57068F13CCE}" v="12" dt="2023-06-14T14:10:34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23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0089390" y="1792223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/>
                </a:solidFill>
              </a:defRPr>
            </a:lvl1pPr>
          </a:lstStyle>
          <a:p>
            <a:fld id="{1E700B27-DE4C-4B9E-BB11-B9027034A00F}" type="datetimeFigureOut">
              <a:rPr lang="en-US" dirty="0"/>
              <a:pPr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8959592" y="3226820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1008" y="292608"/>
            <a:ext cx="838199" cy="767687"/>
          </a:xfrm>
        </p:spPr>
        <p:txBody>
          <a:bodyPr/>
          <a:lstStyle>
            <a:lvl1pPr>
              <a:defRPr sz="2800" b="0" i="0">
                <a:latin typeface="+mj-lt"/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9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966674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6" y="553666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F4739-9812-4A9F-890D-2AD6BA5F6EE8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1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063416"/>
            <a:ext cx="8825659" cy="137975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45AC5-A3F8-44AA-BA8F-596CDCC976D3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5" name="Rectangle 14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4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6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TextBox 12"/>
          <p:cNvSpPr txBox="1"/>
          <p:nvPr/>
        </p:nvSpPr>
        <p:spPr>
          <a:xfrm>
            <a:off x="9719438" y="2631815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z="9600" dirty="0"/>
              <a:t>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98295" y="591093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z="9600" dirty="0"/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0517"/>
            <a:ext cx="8453906" cy="2698249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25772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3B183-A821-4095-A363-9EC968635539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1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33068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D01B4-0AA5-45E6-B2E6-5FA4078AEBCF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17299"/>
            <a:ext cx="312916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4" y="3193561"/>
            <a:ext cx="3129168" cy="283349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2"/>
            <a:ext cx="314538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93561"/>
            <a:ext cx="3145380" cy="283349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6700" y="2617299"/>
            <a:ext cx="3161029" cy="576261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6700" y="3193561"/>
            <a:ext cx="3164719" cy="28334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1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1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7335C-0450-40D7-8612-B3203BED4F28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2" y="4532845"/>
            <a:ext cx="30504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2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3" y="5109107"/>
            <a:ext cx="3050437" cy="91794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537" y="4532846"/>
            <a:ext cx="3046766" cy="651156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3" y="2603500"/>
            <a:ext cx="2691241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8865" y="5184002"/>
            <a:ext cx="3050438" cy="84305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3434" y="4532847"/>
            <a:ext cx="3050438" cy="65115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3434" y="5184001"/>
            <a:ext cx="3050437" cy="843054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388153" y="2603500"/>
            <a:ext cx="0" cy="3517594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801905" y="2603500"/>
            <a:ext cx="0" cy="34925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6A105-2A1C-4284-B4EA-07CF89B1A393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973668"/>
            <a:ext cx="8825660" cy="7069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BE609-F3F2-45E6-BD6A-E03A8C86C1AE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Rectangle 7"/>
            <p:cNvSpPr/>
            <p:nvPr/>
          </p:nvSpPr>
          <p:spPr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76756" y="1278468"/>
            <a:ext cx="1413933" cy="4748589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8"/>
            <a:ext cx="6247546" cy="474859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4AD68-089C-4467-A8F3-EA2BBCA6B44E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51FCE-E4BB-4680-8E50-3C0E348D2609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677645"/>
            <a:ext cx="4351023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8" y="2677644"/>
            <a:ext cx="3755379" cy="2283823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A073D-A903-47F8-8D16-77642FB0DF1F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1FA40-626B-4CA1-85D0-7A9016E395BA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0" y="3179762"/>
            <a:ext cx="4825159" cy="2840039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425EA-B9DC-48A7-991E-9A82573B1B21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97F8-6CEB-469B-AFCC-889F2A2B1D5A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9179F-009E-4FA5-B091-7EBB82A185BD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ctangle 7"/>
            <p:cNvSpPr/>
            <p:nvPr/>
          </p:nvSpPr>
          <p:spPr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9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295400"/>
            <a:ext cx="2793159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5" cy="45720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5" y="2895600"/>
            <a:ext cx="2793158" cy="312927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65CEB-0076-4E37-B880-BCEA9784DE0A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ctangle 7"/>
            <p:cNvSpPr/>
            <p:nvPr/>
          </p:nvSpPr>
          <p:spPr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693332"/>
            <a:ext cx="3860260" cy="173566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5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49E5E-3896-4118-99A7-7B85668F1C5E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0" y="-2373"/>
            <a:ext cx="12192000" cy="6867027"/>
            <a:chOff x="0" y="-2373"/>
            <a:chExt cx="12192000" cy="6867027"/>
          </a:xfrm>
        </p:grpSpPr>
        <p:sp>
          <p:nvSpPr>
            <p:cNvPr id="26" name="Rectangle 25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19">
                <a:duotone>
                  <a:schemeClr val="dk2">
                    <a:shade val="62000"/>
                    <a:hueMod val="108000"/>
                    <a:satMod val="164000"/>
                    <a:lumMod val="69000"/>
                  </a:schemeClr>
                  <a:schemeClr val="dk2">
                    <a:tint val="96000"/>
                    <a:hueMod val="90000"/>
                    <a:satMod val="130000"/>
                    <a:lumMod val="134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 userDrawn="1"/>
          </p:nvSpPr>
          <p:spPr>
            <a:xfrm>
              <a:off x="322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1000"/>
                  </a:schemeClr>
                </a:gs>
                <a:gs pos="75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175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8000"/>
                  </a:schemeClr>
                </a:gs>
                <a:gs pos="72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7000"/>
                  </a:schemeClr>
                </a:gs>
                <a:gs pos="69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7999412" y="-2373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73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74054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alpha val="14000"/>
                  </a:schemeClr>
                </a:gs>
                <a:gs pos="66000">
                  <a:schemeClr val="bg2">
                    <a:lumMod val="40000"/>
                    <a:lumOff val="60000"/>
                    <a:alpha val="0"/>
                  </a:schemeClr>
                </a:gs>
                <a:gs pos="36000">
                  <a:schemeClr val="bg2">
                    <a:lumMod val="40000"/>
                    <a:lumOff val="6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0" name="Freeform 5"/>
            <p:cNvSpPr/>
            <p:nvPr userDrawn="1"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1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3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2603500"/>
            <a:ext cx="8761412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0938" y="639406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7E0D914D-B099-4142-A885-11F276715148}" type="datetimeFigureOut">
              <a:rPr lang="en-US" dirty="0"/>
              <a:t>6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8358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1" i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u.themyersbriggs.com/en/tools/TKI" TargetMode="External"/><Relationship Id="rId2" Type="http://schemas.openxmlformats.org/officeDocument/2006/relationships/hyperlink" Target="https://about.gitlab.com/handbook/leadership/build-high-performing-teams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b="1" dirty="0" err="1"/>
              <a:t>eCourse</a:t>
            </a:r>
            <a:br>
              <a:rPr lang="pt-PT" b="1" dirty="0"/>
            </a:br>
            <a:r>
              <a:rPr lang="pt-PT" sz="3600" b="1" dirty="0" err="1"/>
              <a:t>Progress</a:t>
            </a:r>
            <a:r>
              <a:rPr lang="pt-PT" sz="3600" b="1" dirty="0"/>
              <a:t> </a:t>
            </a:r>
            <a:r>
              <a:rPr lang="pt-PT" sz="3600" b="1" dirty="0" err="1"/>
              <a:t>Report</a:t>
            </a:r>
            <a:r>
              <a:rPr lang="pt-PT" sz="3600" b="1" dirty="0"/>
              <a:t> – Sprint B</a:t>
            </a:r>
            <a:br>
              <a:rPr lang="pt-PT" sz="3600" b="1" dirty="0"/>
            </a:br>
            <a:endParaRPr lang="pt-PT" sz="18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125738"/>
            <a:ext cx="8825658" cy="2180468"/>
          </a:xfrm>
        </p:spPr>
        <p:txBody>
          <a:bodyPr>
            <a:normAutofit/>
          </a:bodyPr>
          <a:lstStyle/>
          <a:p>
            <a:endParaRPr lang="pt-PT" b="1" cap="none" dirty="0">
              <a:latin typeface="+mj-lt"/>
            </a:endParaRPr>
          </a:p>
          <a:p>
            <a:r>
              <a:rPr lang="pt-PT" b="1" cap="none" dirty="0">
                <a:latin typeface="+mj-lt"/>
              </a:rPr>
              <a:t>Pedro Mesquita – 1211171</a:t>
            </a:r>
          </a:p>
          <a:p>
            <a:r>
              <a:rPr lang="pt-PT" b="1" cap="none" dirty="0">
                <a:latin typeface="+mj-lt"/>
              </a:rPr>
              <a:t>Luís Monteiro – 1211250</a:t>
            </a:r>
          </a:p>
          <a:p>
            <a:r>
              <a:rPr lang="pt-PT" b="1" cap="none" dirty="0">
                <a:latin typeface="+mj-lt"/>
              </a:rPr>
              <a:t>Miguel Pessanha – 1201078</a:t>
            </a:r>
          </a:p>
          <a:p>
            <a:r>
              <a:rPr lang="pt-PT" b="1" cap="none" dirty="0">
                <a:latin typeface="+mj-lt"/>
              </a:rPr>
              <a:t>Tiago Afonso - 1201305</a:t>
            </a:r>
          </a:p>
        </p:txBody>
      </p:sp>
    </p:spTree>
    <p:extLst>
      <p:ext uri="{BB962C8B-B14F-4D97-AF65-F5344CB8AC3E}">
        <p14:creationId xmlns:p14="http://schemas.microsoft.com/office/powerpoint/2010/main" val="2125395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Topics</a:t>
            </a:r>
            <a:endParaRPr lang="pt-PT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91320" y="2603499"/>
            <a:ext cx="11189818" cy="408063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PT" b="1" dirty="0"/>
              <a:t>Project</a:t>
            </a:r>
          </a:p>
          <a:p>
            <a:pPr lvl="1">
              <a:lnSpc>
                <a:spcPct val="150000"/>
              </a:lnSpc>
            </a:pPr>
            <a:r>
              <a:rPr lang="pt-PT" dirty="0" err="1"/>
              <a:t>Courses</a:t>
            </a:r>
            <a:endParaRPr lang="pt-PT" dirty="0"/>
          </a:p>
          <a:p>
            <a:pPr lvl="1">
              <a:lnSpc>
                <a:spcPct val="150000"/>
              </a:lnSpc>
            </a:pPr>
            <a:r>
              <a:rPr lang="pt-PT" dirty="0" err="1"/>
              <a:t>Exams</a:t>
            </a:r>
            <a:endParaRPr lang="pt-PT" dirty="0"/>
          </a:p>
          <a:p>
            <a:pPr lvl="1">
              <a:lnSpc>
                <a:spcPct val="150000"/>
              </a:lnSpc>
            </a:pPr>
            <a:r>
              <a:rPr lang="pt-PT" dirty="0" err="1"/>
              <a:t>Shared</a:t>
            </a:r>
            <a:r>
              <a:rPr lang="pt-PT" dirty="0"/>
              <a:t> </a:t>
            </a:r>
            <a:r>
              <a:rPr lang="pt-PT" dirty="0" err="1"/>
              <a:t>Board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81911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0543540"/>
              </p:ext>
            </p:extLst>
          </p:nvPr>
        </p:nvGraphicFramePr>
        <p:xfrm>
          <a:off x="968189" y="2414570"/>
          <a:ext cx="10108964" cy="4244875"/>
        </p:xfrm>
        <a:graphic>
          <a:graphicData uri="http://schemas.openxmlformats.org/drawingml/2006/table">
            <a:tbl>
              <a:tblPr/>
              <a:tblGrid>
                <a:gridCol w="17511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1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97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67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0523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84166">
                <a:tc rowSpan="2">
                  <a:txBody>
                    <a:bodyPr/>
                    <a:lstStyle/>
                    <a:p>
                      <a:pPr algn="l" fontAlgn="b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b">
                    <a:lnL>
                      <a:noFill/>
                    </a:lnL>
                    <a:lnR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% 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Esta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rtl="0" fontAlgn="ctr"/>
                      <a:r>
                        <a:rPr lang="pt-PT" sz="1200" b="1" i="0" u="none" strike="noStrike" dirty="0">
                          <a:solidFill>
                            <a:schemeClr val="bg1"/>
                          </a:solidFill>
                          <a:latin typeface="+mj-lt"/>
                        </a:rPr>
                        <a:t>2023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pt-PT" sz="1000" b="0" i="0" u="none" strike="noStrike" dirty="0">
                        <a:solidFill>
                          <a:srgbClr val="000000"/>
                        </a:solidFill>
                        <a:latin typeface="Myriad Pro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66">
                <a:tc vMerge="1">
                  <a:txBody>
                    <a:bodyPr/>
                    <a:lstStyle/>
                    <a:p>
                      <a:pPr algn="l" fontAlgn="b"/>
                      <a:endParaRPr lang="pt-PT" sz="1000" b="0" i="0" u="none" strike="noStrike" dirty="0">
                        <a:solidFill>
                          <a:srgbClr val="000000"/>
                        </a:solidFill>
                        <a:latin typeface="Myriad Pro"/>
                      </a:endParaRPr>
                    </a:p>
                  </a:txBody>
                  <a:tcPr marL="4060" marR="4060" marT="40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(N-1)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Mar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Abr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Mai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Jun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Jul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Ago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Set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Out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2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Nov</a:t>
                      </a:r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BACC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875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eCourse</a:t>
                      </a:r>
                      <a:endParaRPr lang="pt-PT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Sprint A</a:t>
                      </a: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Domain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Model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2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PT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lvl="0" algn="l" rtl="0" fontAlgn="ctr"/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2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lvl="0" algn="l" rtl="0" fontAlgn="ctr"/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2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lvl="0" algn="l" rtl="0" fontAlgn="ctr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kumimoji="0" lang="en-GB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</a:t>
                      </a:r>
                      <a:endParaRPr lang="pt-PT" sz="1600" b="0" i="0" u="none" strike="noStrike" kern="120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+mn-cs"/>
                        <a:sym typeface="Wingdings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Sprint B</a:t>
                      </a: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4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4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Courses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2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2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Exams</a:t>
                      </a:r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en-GB" sz="12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Shared</a:t>
                      </a:r>
                      <a:r>
                        <a:rPr lang="pt-PT" sz="1100" b="0" i="0" u="none" strike="noStrike" kern="120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Boards</a:t>
                      </a:r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en-GB" sz="16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Presentation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8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0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1600" b="0" i="0" u="none" strike="noStrike" kern="1200" dirty="0">
                        <a:solidFill>
                          <a:srgbClr val="FF0000"/>
                        </a:solidFill>
                        <a:latin typeface="+mj-lt"/>
                        <a:ea typeface="+mn-ea"/>
                        <a:cs typeface="+mn-cs"/>
                        <a:sym typeface="Wingdings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Sprint C</a:t>
                      </a: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6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Exams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4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6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Shared</a:t>
                      </a:r>
                      <a:r>
                        <a:rPr lang="pt-PT" sz="1100" b="0" i="0" u="none" strike="noStrike" kern="1200" dirty="0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Boards</a:t>
                      </a:r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4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</a:t>
                      </a:r>
                      <a:endParaRPr lang="en-GB" sz="1600" dirty="0">
                        <a:solidFill>
                          <a:schemeClr val="tx1"/>
                        </a:solidFill>
                        <a:latin typeface="+mj-lt"/>
                        <a:sym typeface="Wingdings" pitchFamily="2" charset="2"/>
                      </a:endParaRP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pt-PT" sz="1100" b="0" i="0" u="none" strike="noStrike" kern="1200" dirty="0" err="1">
                          <a:solidFill>
                            <a:srgbClr val="000000"/>
                          </a:solidFill>
                          <a:latin typeface="+mj-lt"/>
                          <a:ea typeface="+mn-ea"/>
                          <a:cs typeface="+mn-cs"/>
                        </a:rPr>
                        <a:t>Presentation</a:t>
                      </a:r>
                      <a:endParaRPr lang="pt-PT" sz="1100" b="0" i="0" u="none" strike="noStrike" kern="1200" dirty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2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7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rtl="0" fontAlgn="ctr"/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5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PT" sz="1600" b="0" i="0" u="none" strike="noStrike" kern="1200" dirty="0">
                          <a:solidFill>
                            <a:srgbClr val="00B05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</a:p>
                  </a:txBody>
                  <a:tcPr marL="4060" marR="4060" marT="4060" marB="0" anchor="ctr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pt-PT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060" marR="4060" marT="4060" marB="0">
                    <a:lnL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Planning</a:t>
            </a:r>
            <a:endParaRPr lang="pt-PT" dirty="0"/>
          </a:p>
        </p:txBody>
      </p:sp>
      <p:sp>
        <p:nvSpPr>
          <p:cNvPr id="9" name="Rectangle 52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62194" y="4387272"/>
            <a:ext cx="1033806" cy="18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pt-PT" dirty="0"/>
          </a:p>
        </p:txBody>
      </p:sp>
      <p:sp>
        <p:nvSpPr>
          <p:cNvPr id="10" name="Rectangle 5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38815" y="3180863"/>
            <a:ext cx="1223379" cy="180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pt-PT" dirty="0"/>
          </a:p>
        </p:txBody>
      </p:sp>
      <p:sp>
        <p:nvSpPr>
          <p:cNvPr id="13" name="Line Callout 2 (Border and Accent Bar) 12"/>
          <p:cNvSpPr/>
          <p:nvPr/>
        </p:nvSpPr>
        <p:spPr bwMode="auto">
          <a:xfrm flipH="1">
            <a:off x="5570536" y="3077213"/>
            <a:ext cx="600335" cy="216000"/>
          </a:xfrm>
          <a:prstGeom prst="accentBorderCallout2">
            <a:avLst>
              <a:gd name="adj1" fmla="val 37559"/>
              <a:gd name="adj2" fmla="val 104898"/>
              <a:gd name="adj3" fmla="val 40373"/>
              <a:gd name="adj4" fmla="val 117907"/>
              <a:gd name="adj5" fmla="val 95742"/>
              <a:gd name="adj6" fmla="val 187370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1800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pt-PT" sz="800" b="1" dirty="0">
                <a:solidFill>
                  <a:sysClr val="windowText" lastClr="000000"/>
                </a:solidFill>
                <a:latin typeface="Myriad Pro" pitchFamily="34" charset="0"/>
              </a:rPr>
              <a:t>Conclusão Sprint A</a:t>
            </a:r>
          </a:p>
        </p:txBody>
      </p:sp>
      <p:sp>
        <p:nvSpPr>
          <p:cNvPr id="18" name="AutoShape 487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4269309" y="3605101"/>
            <a:ext cx="176149" cy="180000"/>
          </a:xfrm>
          <a:prstGeom prst="diamond">
            <a:avLst/>
          </a:prstGeom>
          <a:solidFill>
            <a:srgbClr val="0099AB"/>
          </a:solidFill>
          <a:ln w="9525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eaLnBrk="0" hangingPunct="0"/>
            <a:endParaRPr lang="pt-PT" dirty="0"/>
          </a:p>
        </p:txBody>
      </p:sp>
      <p:sp>
        <p:nvSpPr>
          <p:cNvPr id="24" name="Line Callout 2 (Border and Accent Bar) 23"/>
          <p:cNvSpPr/>
          <p:nvPr/>
        </p:nvSpPr>
        <p:spPr bwMode="auto">
          <a:xfrm flipH="1">
            <a:off x="6325663" y="4082506"/>
            <a:ext cx="576000" cy="288032"/>
          </a:xfrm>
          <a:prstGeom prst="accentBorderCallout2">
            <a:avLst>
              <a:gd name="adj1" fmla="val 37559"/>
              <a:gd name="adj2" fmla="val 104898"/>
              <a:gd name="adj3" fmla="val 40373"/>
              <a:gd name="adj4" fmla="val 117907"/>
              <a:gd name="adj5" fmla="val 137519"/>
              <a:gd name="adj6" fmla="val 141167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1800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pt-PT" sz="800" b="1" dirty="0">
                <a:solidFill>
                  <a:sysClr val="windowText" lastClr="000000"/>
                </a:solidFill>
                <a:latin typeface="Myriad Pro" pitchFamily="34" charset="0"/>
              </a:rPr>
              <a:t>Conclusão Sprint B</a:t>
            </a:r>
          </a:p>
        </p:txBody>
      </p:sp>
      <p:sp>
        <p:nvSpPr>
          <p:cNvPr id="27" name="Rectangle 5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5999" y="5151773"/>
            <a:ext cx="553451" cy="16411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pt-PT" dirty="0"/>
          </a:p>
        </p:txBody>
      </p:sp>
      <p:sp>
        <p:nvSpPr>
          <p:cNvPr id="28" name="Line Callout 2 (Border and Accent Bar) 27"/>
          <p:cNvSpPr/>
          <p:nvPr/>
        </p:nvSpPr>
        <p:spPr bwMode="auto">
          <a:xfrm flipH="1">
            <a:off x="6832851" y="4791292"/>
            <a:ext cx="576000" cy="288032"/>
          </a:xfrm>
          <a:prstGeom prst="accentBorderCallout2">
            <a:avLst>
              <a:gd name="adj1" fmla="val 37559"/>
              <a:gd name="adj2" fmla="val 104898"/>
              <a:gd name="adj3" fmla="val 40373"/>
              <a:gd name="adj4" fmla="val 117907"/>
              <a:gd name="adj5" fmla="val 134524"/>
              <a:gd name="adj6" fmla="val 131582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1800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pt-PT" sz="800" b="1" dirty="0">
                <a:solidFill>
                  <a:sysClr val="windowText" lastClr="000000"/>
                </a:solidFill>
                <a:latin typeface="Myriad Pro" pitchFamily="34" charset="0"/>
              </a:rPr>
              <a:t>Conclusão</a:t>
            </a:r>
          </a:p>
          <a:p>
            <a:pPr algn="ctr" eaLnBrk="0" hangingPunct="0">
              <a:defRPr/>
            </a:pPr>
            <a:r>
              <a:rPr lang="pt-PT" sz="800" b="1" dirty="0">
                <a:solidFill>
                  <a:sysClr val="windowText" lastClr="000000"/>
                </a:solidFill>
                <a:latin typeface="Myriad Pro" pitchFamily="34" charset="0"/>
              </a:rPr>
              <a:t>Sprint C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3816229" y="3057950"/>
            <a:ext cx="1080000" cy="3564000"/>
          </a:xfrm>
          <a:prstGeom prst="rect">
            <a:avLst/>
          </a:prstGeom>
          <a:solidFill>
            <a:schemeClr val="tx1">
              <a:alpha val="12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pt-PT" dirty="0"/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3824476" y="3257852"/>
            <a:ext cx="1044000" cy="39600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/>
            <a:endParaRPr lang="pt-PT">
              <a:solidFill>
                <a:srgbClr val="EE0000"/>
              </a:solidFill>
              <a:latin typeface="Verdana" pitchFamily="34" charset="0"/>
            </a:endParaRPr>
          </a:p>
        </p:txBody>
      </p:sp>
      <p:grpSp>
        <p:nvGrpSpPr>
          <p:cNvPr id="46" name="Group 134"/>
          <p:cNvGrpSpPr/>
          <p:nvPr/>
        </p:nvGrpSpPr>
        <p:grpSpPr>
          <a:xfrm>
            <a:off x="4825732" y="3029123"/>
            <a:ext cx="144000" cy="3564000"/>
            <a:chOff x="3270157" y="1422358"/>
            <a:chExt cx="144000" cy="5069084"/>
          </a:xfrm>
        </p:grpSpPr>
        <p:sp>
          <p:nvSpPr>
            <p:cNvPr id="47" name="Line 488"/>
            <p:cNvSpPr>
              <a:spLocks noChangeShapeType="1"/>
            </p:cNvSpPr>
            <p:nvPr/>
          </p:nvSpPr>
          <p:spPr bwMode="auto">
            <a:xfrm flipV="1">
              <a:off x="3340425" y="1451442"/>
              <a:ext cx="0" cy="5040000"/>
            </a:xfrm>
            <a:prstGeom prst="line">
              <a:avLst/>
            </a:prstGeom>
            <a:noFill/>
            <a:ln w="28575">
              <a:solidFill>
                <a:srgbClr val="BED600"/>
              </a:solidFill>
              <a:round/>
              <a:headEnd/>
              <a:tailEnd/>
            </a:ln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pt-PT"/>
            </a:p>
          </p:txBody>
        </p:sp>
        <p:sp>
          <p:nvSpPr>
            <p:cNvPr id="48" name="Oval 47"/>
            <p:cNvSpPr>
              <a:spLocks noChangeArrowheads="1"/>
            </p:cNvSpPr>
            <p:nvPr/>
          </p:nvSpPr>
          <p:spPr bwMode="auto">
            <a:xfrm>
              <a:off x="3270157" y="1422358"/>
              <a:ext cx="144000" cy="105146"/>
            </a:xfrm>
            <a:prstGeom prst="ellipse">
              <a:avLst/>
            </a:prstGeom>
            <a:solidFill>
              <a:srgbClr val="FFFFFF"/>
            </a:solidFill>
            <a:ln w="28575" algn="ctr">
              <a:solidFill>
                <a:srgbClr val="BED600"/>
              </a:solidFill>
              <a:round/>
              <a:headEnd/>
              <a:tailEnd/>
            </a:ln>
          </p:spPr>
          <p:txBody>
            <a:bodyPr wrap="square" lIns="90000" tIns="46800" rIns="90000" bIns="4680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/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111301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Completed</a:t>
            </a:r>
            <a:r>
              <a:rPr lang="pt-PT" dirty="0"/>
              <a:t> </a:t>
            </a:r>
            <a:r>
              <a:rPr lang="pt-PT" dirty="0" err="1"/>
              <a:t>Activities</a:t>
            </a:r>
            <a:endParaRPr lang="pt-PT" dirty="0"/>
          </a:p>
        </p:txBody>
      </p:sp>
      <p:graphicFrame>
        <p:nvGraphicFramePr>
          <p:cNvPr id="7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83551"/>
              </p:ext>
            </p:extLst>
          </p:nvPr>
        </p:nvGraphicFramePr>
        <p:xfrm>
          <a:off x="459474" y="2298652"/>
          <a:ext cx="11273051" cy="4391280"/>
        </p:xfrm>
        <a:graphic>
          <a:graphicData uri="http://schemas.openxmlformats.org/drawingml/2006/table">
            <a:tbl>
              <a:tblPr/>
              <a:tblGrid>
                <a:gridCol w="544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3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7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967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07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28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I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tividad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Responsável</a:t>
                      </a:r>
                      <a:endParaRPr lang="pt-PT" sz="1200" b="1" kern="120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 err="1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Baseline</a:t>
                      </a:r>
                      <a:endParaRPr lang="pt-PT" sz="1200" b="1" kern="120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Real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stado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78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Register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nabl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/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Disabl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&amp;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Lis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User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 / Pedro Mesqui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7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9-05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7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5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9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reat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5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8-05-2023</a:t>
                      </a:r>
                      <a:endParaRPr kumimoji="0" lang="pt-PT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5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7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pen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nd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los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nrollment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5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8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5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8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9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pen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nd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los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312518"/>
                  </a:ext>
                </a:extLst>
              </a:tr>
              <a:tr h="3257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Set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h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eachers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f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026705"/>
                  </a:ext>
                </a:extLst>
              </a:tr>
              <a:tr h="3519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Lis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ll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h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s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ha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are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vailabl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to 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4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651099"/>
                  </a:ext>
                </a:extLst>
              </a:tr>
              <a:tr h="3572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Reques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my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nrollmen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in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edro Mesqui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7-09-2020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7-10-2020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8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 05-06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176764"/>
                  </a:ext>
                </a:extLst>
              </a:tr>
              <a:tr h="3414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0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pprov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r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rejec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studen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pplication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edro Mesqui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7-09-2020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7-10-20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8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 05-06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682186"/>
                  </a:ext>
                </a:extLst>
              </a:tr>
              <a:tr h="3572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101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Schedule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las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edro Mesquit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9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1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9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1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7869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3589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Uncompleted</a:t>
            </a:r>
            <a:r>
              <a:rPr lang="pt-PT" dirty="0"/>
              <a:t> </a:t>
            </a:r>
            <a:r>
              <a:rPr lang="pt-PT" dirty="0" err="1"/>
              <a:t>Activities</a:t>
            </a:r>
            <a:endParaRPr lang="pt-PT" dirty="0"/>
          </a:p>
        </p:txBody>
      </p:sp>
      <p:graphicFrame>
        <p:nvGraphicFramePr>
          <p:cNvPr id="7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343272"/>
              </p:ext>
            </p:extLst>
          </p:nvPr>
        </p:nvGraphicFramePr>
        <p:xfrm>
          <a:off x="459474" y="2456132"/>
          <a:ext cx="11273051" cy="3476880"/>
        </p:xfrm>
        <a:graphic>
          <a:graphicData uri="http://schemas.openxmlformats.org/drawingml/2006/table">
            <a:tbl>
              <a:tblPr/>
              <a:tblGrid>
                <a:gridCol w="544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3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7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967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07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ID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tividade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Responsável</a:t>
                      </a:r>
                      <a:endParaRPr lang="pt-PT" sz="1200" b="1" kern="120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 err="1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Baseline</a:t>
                      </a:r>
                      <a:endParaRPr lang="pt-PT" sz="1200" b="1" kern="1200" noProof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Real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b="1" kern="1200" noProof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stado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9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78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200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reat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/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Updat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n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exa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iago Afonso / Miguel Pessanh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1-06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10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6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5-06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24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2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9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200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View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lis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f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my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future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xam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2400" b="0" i="0" u="none" strike="noStrike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7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20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View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list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of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all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xams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in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urse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2400" b="0" i="0" u="none" strike="noStrike" kern="1200" dirty="0">
                          <a:solidFill>
                            <a:srgbClr val="FFFF00"/>
                          </a:solidFill>
                          <a:latin typeface="+mj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9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30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repar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ommunication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infrastructur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for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Shared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Boards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Miguel Pessanha / Luís Monteir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6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3-06-2023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6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4-06-2023</a:t>
                      </a:r>
                    </a:p>
                  </a:txBody>
                  <a:tcPr marL="18000" marR="18000" marT="36000" marB="36000" anchor="ctr" horzOverflow="overflow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24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312518"/>
                  </a:ext>
                </a:extLst>
              </a:tr>
              <a:tr h="3257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300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Create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a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Board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Luís Monteir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5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5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5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09-06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026705"/>
                  </a:ext>
                </a:extLst>
              </a:tr>
              <a:tr h="3519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30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xplore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synchronization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roblem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Miguel Pessanh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0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0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9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  <a:sym typeface="Wingdings"/>
                        </a:rPr>
                        <a:t>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651099"/>
                  </a:ext>
                </a:extLst>
              </a:tr>
              <a:tr h="3572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50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This</a:t>
                      </a:r>
                      <a:r>
                        <a:rPr lang="pt-PT" sz="120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presentation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20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Times New Roman" pitchFamily="18" charset="0"/>
                        </a:rPr>
                        <a:t>Everyone</a:t>
                      </a:r>
                      <a:endParaRPr lang="pt-PT" sz="12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9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1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rt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19-05-202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pt-PT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nd</a:t>
                      </a:r>
                      <a:r>
                        <a:rPr kumimoji="0" lang="pt-PT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: 21-05-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2400" b="0" i="0" u="none" strike="noStrike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</a:t>
                      </a:r>
                      <a:endParaRPr lang="pt-PT" sz="2400" kern="1200" noProof="0" dirty="0">
                        <a:solidFill>
                          <a:srgbClr val="FFFF00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176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0315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Topics</a:t>
            </a:r>
            <a:endParaRPr lang="pt-PT" dirty="0"/>
          </a:p>
        </p:txBody>
      </p:sp>
      <p:sp>
        <p:nvSpPr>
          <p:cNvPr id="2" name="Retângulo 1"/>
          <p:cNvSpPr/>
          <p:nvPr/>
        </p:nvSpPr>
        <p:spPr>
          <a:xfrm>
            <a:off x="849405" y="2453342"/>
            <a:ext cx="837527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US 5001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s software product client, I want the team (software product supplier) to prepare a presentation focusing on the following aspects: </a:t>
            </a: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main objectives of the system; </a:t>
            </a: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dopted development process and planning; </a:t>
            </a: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hlinkClick r:id="rId2"/>
              </a:rPr>
              <a:t>teamwork methodology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nd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hlinkClick r:id="rId3"/>
              </a:rPr>
              <a:t>conflict resolution strategy 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product quality; </a:t>
            </a: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expected results; </a:t>
            </a:r>
          </a:p>
          <a:p>
            <a:pPr marL="400050" indent="-400050">
              <a:buAutoNum type="romanLcParenBoth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'turnkey' format for software delivery/sale; among others relevant aspects.</a:t>
            </a:r>
            <a:r>
              <a:rPr lang="en-US" dirty="0"/>
              <a:t> 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40492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/>
              <a:t>Lessons</a:t>
            </a:r>
            <a:r>
              <a:rPr lang="pt-PT" dirty="0"/>
              <a:t> </a:t>
            </a:r>
            <a:r>
              <a:rPr lang="pt-PT" dirty="0" err="1"/>
              <a:t>Learned</a:t>
            </a:r>
            <a:endParaRPr lang="pt-PT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/>
          <a:srcRect l="29661" t="23201" r="33927" b="31222"/>
          <a:stretch/>
        </p:blipFill>
        <p:spPr>
          <a:xfrm>
            <a:off x="5535659" y="1861443"/>
            <a:ext cx="5642823" cy="470880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BF1111C-12DE-5874-8D9C-1D1B00FF8151}"/>
              </a:ext>
            </a:extLst>
          </p:cNvPr>
          <p:cNvSpPr txBox="1"/>
          <p:nvPr/>
        </p:nvSpPr>
        <p:spPr>
          <a:xfrm>
            <a:off x="546538" y="2501462"/>
            <a:ext cx="430924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/>
              <a:t>	In general, </a:t>
            </a:r>
            <a:r>
              <a:rPr lang="pt-PT" dirty="0" err="1"/>
              <a:t>our</a:t>
            </a:r>
            <a:r>
              <a:rPr lang="pt-PT" dirty="0"/>
              <a:t> sprint </a:t>
            </a:r>
            <a:r>
              <a:rPr lang="pt-PT" dirty="0" err="1"/>
              <a:t>planning</a:t>
            </a:r>
            <a:r>
              <a:rPr lang="pt-PT" dirty="0"/>
              <a:t> </a:t>
            </a:r>
            <a:r>
              <a:rPr lang="pt-PT" dirty="0" err="1"/>
              <a:t>was</a:t>
            </a:r>
            <a:r>
              <a:rPr lang="pt-PT" dirty="0"/>
              <a:t> </a:t>
            </a:r>
            <a:r>
              <a:rPr lang="pt-PT" dirty="0" err="1"/>
              <a:t>really</a:t>
            </a:r>
            <a:r>
              <a:rPr lang="pt-PT" dirty="0"/>
              <a:t> </a:t>
            </a:r>
            <a:r>
              <a:rPr lang="pt-PT" dirty="0" err="1"/>
              <a:t>poor</a:t>
            </a:r>
            <a:r>
              <a:rPr lang="pt-PT" dirty="0"/>
              <a:t>, </a:t>
            </a:r>
            <a:r>
              <a:rPr lang="pt-PT" dirty="0" err="1"/>
              <a:t>having</a:t>
            </a:r>
            <a:r>
              <a:rPr lang="pt-PT" dirty="0"/>
              <a:t> </a:t>
            </a:r>
            <a:r>
              <a:rPr lang="pt-PT" dirty="0" err="1"/>
              <a:t>problems</a:t>
            </a:r>
            <a:r>
              <a:rPr lang="pt-PT" dirty="0"/>
              <a:t> </a:t>
            </a:r>
            <a:r>
              <a:rPr lang="pt-PT" dirty="0" err="1"/>
              <a:t>with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building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running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Project </a:t>
            </a:r>
            <a:r>
              <a:rPr lang="pt-PT" dirty="0" err="1"/>
              <a:t>since</a:t>
            </a:r>
            <a:r>
              <a:rPr lang="pt-PT" dirty="0"/>
              <a:t> </a:t>
            </a:r>
            <a:r>
              <a:rPr lang="pt-PT" dirty="0" err="1"/>
              <a:t>very</a:t>
            </a:r>
            <a:r>
              <a:rPr lang="pt-PT" dirty="0"/>
              <a:t> </a:t>
            </a:r>
            <a:r>
              <a:rPr lang="pt-PT" dirty="0" err="1"/>
              <a:t>early</a:t>
            </a:r>
            <a:r>
              <a:rPr lang="pt-PT" dirty="0"/>
              <a:t> </a:t>
            </a:r>
            <a:r>
              <a:rPr lang="pt-PT" dirty="0" err="1"/>
              <a:t>on</a:t>
            </a:r>
            <a:r>
              <a:rPr lang="pt-PT" dirty="0"/>
              <a:t> </a:t>
            </a:r>
            <a:r>
              <a:rPr lang="pt-PT" dirty="0" err="1"/>
              <a:t>and</a:t>
            </a:r>
            <a:r>
              <a:rPr lang="pt-PT" dirty="0"/>
              <a:t> </a:t>
            </a:r>
            <a:r>
              <a:rPr lang="pt-PT" dirty="0" err="1"/>
              <a:t>having</a:t>
            </a:r>
            <a:r>
              <a:rPr lang="pt-PT" dirty="0"/>
              <a:t> </a:t>
            </a:r>
            <a:r>
              <a:rPr lang="pt-PT" dirty="0" err="1"/>
              <a:t>fixed</a:t>
            </a:r>
            <a:r>
              <a:rPr lang="pt-PT" dirty="0"/>
              <a:t> </a:t>
            </a:r>
            <a:r>
              <a:rPr lang="pt-PT" dirty="0" err="1"/>
              <a:t>it</a:t>
            </a:r>
            <a:r>
              <a:rPr lang="pt-PT" dirty="0"/>
              <a:t> </a:t>
            </a:r>
            <a:r>
              <a:rPr lang="pt-PT" dirty="0" err="1"/>
              <a:t>very</a:t>
            </a:r>
            <a:r>
              <a:rPr lang="pt-PT" dirty="0"/>
              <a:t> late. </a:t>
            </a:r>
            <a:r>
              <a:rPr lang="pt-PT" dirty="0" err="1"/>
              <a:t>We</a:t>
            </a:r>
            <a:r>
              <a:rPr lang="pt-PT" dirty="0"/>
              <a:t> </a:t>
            </a:r>
            <a:r>
              <a:rPr lang="pt-PT" dirty="0" err="1"/>
              <a:t>learned</a:t>
            </a:r>
            <a:r>
              <a:rPr lang="pt-PT" dirty="0"/>
              <a:t> </a:t>
            </a:r>
            <a:r>
              <a:rPr lang="pt-PT" dirty="0" err="1"/>
              <a:t>that</a:t>
            </a:r>
            <a:r>
              <a:rPr lang="pt-PT" dirty="0"/>
              <a:t> a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timely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completion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of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user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stories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heavily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relies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on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establishing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a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strong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foundation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during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project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setup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and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neglecting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it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can lead to a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serious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 </a:t>
            </a:r>
            <a:r>
              <a:rPr lang="pt-PT" b="0" i="0" u="none" strike="noStrike" dirty="0" err="1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delay</a:t>
            </a:r>
            <a:r>
              <a:rPr lang="pt-PT" b="0" i="0" u="none" strike="noStrike" dirty="0">
                <a:solidFill>
                  <a:srgbClr val="374151"/>
                </a:solidFill>
                <a:effectLst/>
                <a:latin typeface="Century Gothic" panose="020B0502020202020204" pitchFamily="34" charset="0"/>
              </a:rPr>
              <a:t>.</a:t>
            </a:r>
          </a:p>
          <a:p>
            <a:r>
              <a:rPr lang="pt-PT" dirty="0">
                <a:latin typeface="Century Gothic" panose="020B0502020202020204" pitchFamily="34" charset="0"/>
              </a:rPr>
              <a:t>	Some </a:t>
            </a:r>
            <a:r>
              <a:rPr lang="pt-PT" dirty="0" err="1">
                <a:latin typeface="Century Gothic" panose="020B0502020202020204" pitchFamily="34" charset="0"/>
              </a:rPr>
              <a:t>user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stories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were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only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able</a:t>
            </a:r>
            <a:r>
              <a:rPr lang="pt-PT" dirty="0">
                <a:latin typeface="Century Gothic" panose="020B0502020202020204" pitchFamily="34" charset="0"/>
              </a:rPr>
              <a:t> to </a:t>
            </a:r>
            <a:r>
              <a:rPr lang="pt-PT" dirty="0" err="1">
                <a:latin typeface="Century Gothic" panose="020B0502020202020204" pitchFamily="34" charset="0"/>
              </a:rPr>
              <a:t>be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completed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during</a:t>
            </a:r>
            <a:r>
              <a:rPr lang="pt-PT" dirty="0">
                <a:latin typeface="Century Gothic" panose="020B0502020202020204" pitchFamily="34" charset="0"/>
              </a:rPr>
              <a:t> Sprint C, </a:t>
            </a:r>
            <a:r>
              <a:rPr lang="pt-PT" dirty="0" err="1">
                <a:latin typeface="Century Gothic" panose="020B0502020202020204" pitchFamily="34" charset="0"/>
              </a:rPr>
              <a:t>which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is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having</a:t>
            </a:r>
            <a:r>
              <a:rPr lang="pt-PT" dirty="0">
                <a:latin typeface="Century Gothic" panose="020B0502020202020204" pitchFamily="34" charset="0"/>
              </a:rPr>
              <a:t> a </a:t>
            </a:r>
            <a:r>
              <a:rPr lang="pt-PT" dirty="0" err="1">
                <a:latin typeface="Century Gothic" panose="020B0502020202020204" pitchFamily="34" charset="0"/>
              </a:rPr>
              <a:t>better</a:t>
            </a:r>
            <a:r>
              <a:rPr lang="pt-PT" dirty="0">
                <a:latin typeface="Century Gothic" panose="020B0502020202020204" pitchFamily="34" charset="0"/>
              </a:rPr>
              <a:t> </a:t>
            </a:r>
            <a:r>
              <a:rPr lang="pt-PT" dirty="0" err="1">
                <a:latin typeface="Century Gothic" panose="020B0502020202020204" pitchFamily="34" charset="0"/>
              </a:rPr>
              <a:t>planning</a:t>
            </a:r>
            <a:r>
              <a:rPr lang="pt-PT" dirty="0"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8" name="Seta para Baixo 7">
            <a:extLst>
              <a:ext uri="{FF2B5EF4-FFF2-40B4-BE49-F238E27FC236}">
                <a16:creationId xmlns:a16="http://schemas.microsoft.com/office/drawing/2014/main" id="{CDDEF5B6-02A0-84DC-7DA9-9B56455ADB85}"/>
              </a:ext>
            </a:extLst>
          </p:cNvPr>
          <p:cNvSpPr/>
          <p:nvPr/>
        </p:nvSpPr>
        <p:spPr>
          <a:xfrm>
            <a:off x="9115720" y="2960016"/>
            <a:ext cx="207389" cy="377073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C7354A-1212-A2CE-6380-8770057B24F7}"/>
              </a:ext>
            </a:extLst>
          </p:cNvPr>
          <p:cNvSpPr txBox="1"/>
          <p:nvPr/>
        </p:nvSpPr>
        <p:spPr>
          <a:xfrm>
            <a:off x="8729221" y="2683017"/>
            <a:ext cx="2055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err="1"/>
              <a:t>We</a:t>
            </a:r>
            <a:r>
              <a:rPr lang="pt-PT" sz="1200" b="1" dirty="0"/>
              <a:t> are </a:t>
            </a:r>
            <a:r>
              <a:rPr lang="pt-PT" sz="1200" b="1" dirty="0" err="1"/>
              <a:t>here</a:t>
            </a:r>
            <a:endParaRPr lang="pt-PT" sz="1200" b="1" dirty="0"/>
          </a:p>
        </p:txBody>
      </p:sp>
    </p:spTree>
    <p:extLst>
      <p:ext uri="{BB962C8B-B14F-4D97-AF65-F5344CB8AC3E}">
        <p14:creationId xmlns:p14="http://schemas.microsoft.com/office/powerpoint/2010/main" val="1318742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b="1" dirty="0" err="1"/>
              <a:t>eCourse</a:t>
            </a:r>
            <a:br>
              <a:rPr lang="pt-PT" b="1" dirty="0"/>
            </a:br>
            <a:r>
              <a:rPr lang="pt-PT" sz="3600" b="1" dirty="0" err="1"/>
              <a:t>Progress</a:t>
            </a:r>
            <a:r>
              <a:rPr lang="pt-PT" sz="3600" b="1" dirty="0"/>
              <a:t> </a:t>
            </a:r>
            <a:r>
              <a:rPr lang="pt-PT" sz="3600" b="1" dirty="0" err="1"/>
              <a:t>Report</a:t>
            </a:r>
            <a:r>
              <a:rPr lang="pt-PT" sz="3600" b="1" dirty="0"/>
              <a:t> – Sprint B</a:t>
            </a:r>
            <a:br>
              <a:rPr lang="pt-PT" sz="3600" b="1" dirty="0"/>
            </a:br>
            <a:endParaRPr lang="pt-PT" sz="18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125738"/>
            <a:ext cx="8825658" cy="2180468"/>
          </a:xfrm>
        </p:spPr>
        <p:txBody>
          <a:bodyPr>
            <a:normAutofit/>
          </a:bodyPr>
          <a:lstStyle/>
          <a:p>
            <a:endParaRPr lang="pt-PT" b="1" cap="none" dirty="0">
              <a:latin typeface="+mj-lt"/>
            </a:endParaRPr>
          </a:p>
          <a:p>
            <a:r>
              <a:rPr lang="pt-PT" b="1" cap="none" dirty="0">
                <a:latin typeface="+mj-lt"/>
              </a:rPr>
              <a:t>Pedro Mesquita – 1211171</a:t>
            </a:r>
          </a:p>
          <a:p>
            <a:r>
              <a:rPr lang="pt-PT" b="1" cap="none" dirty="0">
                <a:latin typeface="+mj-lt"/>
              </a:rPr>
              <a:t>Luís Monteiro – 1211250</a:t>
            </a:r>
          </a:p>
          <a:p>
            <a:r>
              <a:rPr lang="pt-PT" b="1" cap="none" dirty="0">
                <a:latin typeface="+mj-lt"/>
              </a:rPr>
              <a:t>Miguel Pessanha – 1201078</a:t>
            </a:r>
          </a:p>
          <a:p>
            <a:r>
              <a:rPr lang="pt-PT" b="1" cap="none" dirty="0">
                <a:latin typeface="+mj-lt"/>
              </a:rPr>
              <a:t>Tiago Afonso - 1201305</a:t>
            </a:r>
          </a:p>
        </p:txBody>
      </p:sp>
    </p:spTree>
    <p:extLst>
      <p:ext uri="{BB962C8B-B14F-4D97-AF65-F5344CB8AC3E}">
        <p14:creationId xmlns:p14="http://schemas.microsoft.com/office/powerpoint/2010/main" val="2992610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KNOELEADERBOARD" val="89229331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hkvEMfQE2UIUtw3E4c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hkvEMfQE2UIUtw3E4c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f91MzGVk.ZNox42bC4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hkvEMfQE2UIUtw3E4cJ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Personalizado 1">
      <a:dk1>
        <a:sysClr val="windowText" lastClr="000000"/>
      </a:dk1>
      <a:lt1>
        <a:sysClr val="window" lastClr="FFFFFF"/>
      </a:lt1>
      <a:dk2>
        <a:srgbClr val="0E5580"/>
      </a:dk2>
      <a:lt2>
        <a:srgbClr val="EBEBEB"/>
      </a:lt2>
      <a:accent1>
        <a:srgbClr val="ACD433"/>
      </a:accent1>
      <a:accent2>
        <a:srgbClr val="E6C133"/>
      </a:accent2>
      <a:accent3>
        <a:srgbClr val="EF7A24"/>
      </a:accent3>
      <a:accent4>
        <a:srgbClr val="5AA0F5"/>
      </a:accent4>
      <a:accent5>
        <a:srgbClr val="75CEEC"/>
      </a:accent5>
      <a:accent6>
        <a:srgbClr val="65D6A0"/>
      </a:accent6>
      <a:hlink>
        <a:srgbClr val="0070C0"/>
      </a:hlink>
      <a:folHlink>
        <a:srgbClr val="BDE0F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A3AB87EF-B655-4FFF-8D05-F333AD7F278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9bdf9ce-6bb9-4a53-8726-9f58bd9dd9d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99F0C62C09A243B041C65CF2B8B0B6" ma:contentTypeVersion="15" ma:contentTypeDescription="Create a new document." ma:contentTypeScope="" ma:versionID="199a943d73e753623b6b806aabc232e8">
  <xsd:schema xmlns:xsd="http://www.w3.org/2001/XMLSchema" xmlns:xs="http://www.w3.org/2001/XMLSchema" xmlns:p="http://schemas.microsoft.com/office/2006/metadata/properties" xmlns:ns3="dbcc6fe8-c5a4-4965-a57f-6b290136b18b" xmlns:ns4="e9bdf9ce-6bb9-4a53-8726-9f58bd9dd9d3" targetNamespace="http://schemas.microsoft.com/office/2006/metadata/properties" ma:root="true" ma:fieldsID="6e2812a522f675c9d7d0b16f5bb28b95" ns3:_="" ns4:_="">
    <xsd:import namespace="dbcc6fe8-c5a4-4965-a57f-6b290136b18b"/>
    <xsd:import namespace="e9bdf9ce-6bb9-4a53-8726-9f58bd9dd9d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MediaServiceLocation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c6fe8-c5a4-4965-a57f-6b290136b1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bdf9ce-6bb9-4a53-8726-9f58bd9dd9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0ACA2C-97E2-4BA6-8903-232D95FC500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1AAB6C4-099C-42B3-800B-33D9542A997C}">
  <ds:schemaRefs>
    <ds:schemaRef ds:uri="http://purl.org/dc/dcmitype/"/>
    <ds:schemaRef ds:uri="http://schemas.openxmlformats.org/package/2006/metadata/core-properties"/>
    <ds:schemaRef ds:uri="e9bdf9ce-6bb9-4a53-8726-9f58bd9dd9d3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dbcc6fe8-c5a4-4965-a57f-6b290136b18b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44738C8-0DF1-425F-8624-DF3939E32A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cc6fe8-c5a4-4965-a57f-6b290136b18b"/>
    <ds:schemaRef ds:uri="e9bdf9ce-6bb9-4a53-8726-9f58bd9dd9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699</TotalTime>
  <Words>754</Words>
  <Application>Microsoft Macintosh PowerPoint</Application>
  <PresentationFormat>Ecrã Panorâmico</PresentationFormat>
  <Paragraphs>274</Paragraphs>
  <Slides>8</Slides>
  <Notes>0</Notes>
  <HiddenSlides>0</HiddenSlides>
  <MMClips>0</MMClips>
  <ScaleCrop>false</ScaleCrop>
  <HeadingPairs>
    <vt:vector size="6" baseType="variant">
      <vt:variant>
        <vt:lpstr>Tipos de letra usado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os diapositivos</vt:lpstr>
      </vt:variant>
      <vt:variant>
        <vt:i4>8</vt:i4>
      </vt:variant>
    </vt:vector>
  </HeadingPairs>
  <TitlesOfParts>
    <vt:vector size="15" baseType="lpstr">
      <vt:lpstr>Arial</vt:lpstr>
      <vt:lpstr>Calibri</vt:lpstr>
      <vt:lpstr>Century Gothic</vt:lpstr>
      <vt:lpstr>Myriad Pro</vt:lpstr>
      <vt:lpstr>Verdana</vt:lpstr>
      <vt:lpstr>Wingdings 3</vt:lpstr>
      <vt:lpstr>Ion Boardroom</vt:lpstr>
      <vt:lpstr>eCourse Progress Report – Sprint B </vt:lpstr>
      <vt:lpstr>Topics</vt:lpstr>
      <vt:lpstr>Planning</vt:lpstr>
      <vt:lpstr>Completed Activities</vt:lpstr>
      <vt:lpstr>Uncompleted Activities</vt:lpstr>
      <vt:lpstr>Topics</vt:lpstr>
      <vt:lpstr>Lessons Learned</vt:lpstr>
      <vt:lpstr>eCourse Progress Report – Sprint B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rir projetos</dc:title>
  <dc:creator>Ana Abreu</dc:creator>
  <cp:lastModifiedBy>Pedro Mesquita</cp:lastModifiedBy>
  <cp:revision>69</cp:revision>
  <dcterms:created xsi:type="dcterms:W3CDTF">2015-06-02T09:01:30Z</dcterms:created>
  <dcterms:modified xsi:type="dcterms:W3CDTF">2023-06-14T14:1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99F0C62C09A243B041C65CF2B8B0B6</vt:lpwstr>
  </property>
</Properties>
</file>